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672" r:id="rId2"/>
  </p:sldIdLst>
  <p:sldSz cx="12192000" cy="6858000"/>
  <p:notesSz cx="6797675" cy="9928225"/>
  <p:embeddedFontLst>
    <p:embeddedFont>
      <p:font typeface="Calibri" panose="020F0502020204030204" pitchFamily="34" charset="0"/>
      <p:regular r:id="rId5"/>
      <p:bold r:id="rId6"/>
      <p:italic r:id="rId7"/>
      <p:boldItalic r:id="rId8"/>
    </p:embeddedFont>
    <p:embeddedFont>
      <p:font typeface="Futura Bold" panose="00000900000000000000" pitchFamily="2" charset="0"/>
      <p:regular r:id="rId9"/>
      <p:boldItalic r:id="rId10"/>
    </p:embeddedFont>
    <p:embeddedFont>
      <p:font typeface="Futura Medium" panose="00000400000000000000" pitchFamily="2" charset="0"/>
      <p:regular r:id="rId11"/>
      <p:bold r:id="rId12"/>
      <p:italic r:id="rId13"/>
      <p:boldItalic r:id="rId14"/>
    </p:embeddedFont>
  </p:embeddedFontLst>
  <p:custDataLst>
    <p:tags r:id="rId15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9B6E"/>
    <a:srgbClr val="99CDB7"/>
    <a:srgbClr val="D9D9D9"/>
    <a:srgbClr val="FFFFFF"/>
    <a:srgbClr val="CCE9DB"/>
    <a:srgbClr val="66B492"/>
    <a:srgbClr val="DFD1DE"/>
    <a:srgbClr val="C0A2BD"/>
    <a:srgbClr val="A0749B"/>
    <a:srgbClr val="81457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367" autoAdjust="0"/>
    <p:restoredTop sz="96283" autoAdjust="0"/>
  </p:normalViewPr>
  <p:slideViewPr>
    <p:cSldViewPr snapToGrid="0" snapToObjects="1" showGuides="1">
      <p:cViewPr varScale="1">
        <p:scale>
          <a:sx n="113" d="100"/>
          <a:sy n="113" d="100"/>
        </p:scale>
        <p:origin x="108" y="150"/>
      </p:cViewPr>
      <p:guideLst>
        <p:guide orient="horz" pos="2184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64" d="100"/>
          <a:sy n="64" d="100"/>
        </p:scale>
        <p:origin x="2160" y="72"/>
      </p:cViewPr>
      <p:guideLst>
        <p:guide orient="horz" pos="3128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4.fntdata"/><Relationship Id="rId13" Type="http://schemas.openxmlformats.org/officeDocument/2006/relationships/font" Target="fonts/font9.fntdata"/><Relationship Id="rId1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font" Target="fonts/font3.fntdata"/><Relationship Id="rId12" Type="http://schemas.openxmlformats.org/officeDocument/2006/relationships/font" Target="fonts/font8.fntdata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2.fntdata"/><Relationship Id="rId11" Type="http://schemas.openxmlformats.org/officeDocument/2006/relationships/font" Target="fonts/font7.fntdata"/><Relationship Id="rId5" Type="http://schemas.openxmlformats.org/officeDocument/2006/relationships/font" Target="fonts/font1.fntdata"/><Relationship Id="rId15" Type="http://schemas.openxmlformats.org/officeDocument/2006/relationships/tags" Target="tags/tag1.xml"/><Relationship Id="rId10" Type="http://schemas.openxmlformats.org/officeDocument/2006/relationships/font" Target="fonts/font6.fntdata"/><Relationship Id="rId19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font" Target="fonts/font5.fntdata"/><Relationship Id="rId14" Type="http://schemas.openxmlformats.org/officeDocument/2006/relationships/font" Target="fonts/font10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Futura Medium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688C09-A274-4C07-9395-CBE67C0DE912}" type="datetimeFigureOut">
              <a:rPr lang="en-GB" smtClean="0">
                <a:latin typeface="Futura Medium" pitchFamily="2" charset="0"/>
              </a:rPr>
              <a:pPr/>
              <a:t>05/08/2019</a:t>
            </a:fld>
            <a:endParaRPr lang="en-GB" dirty="0">
              <a:latin typeface="Futura Medium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Futura Medium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B005D9-1AAC-4E6D-B9B3-BB8CB4FD9D30}" type="slidenum">
              <a:rPr lang="en-GB" smtClean="0">
                <a:latin typeface="Futura Medium" pitchFamily="2" charset="0"/>
              </a:rPr>
              <a:pPr/>
              <a:t>‹#›</a:t>
            </a:fld>
            <a:endParaRPr lang="en-GB" dirty="0">
              <a:latin typeface="Futura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79735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E8910CE4-810D-4C84-B7AD-48C304FEA169}" type="datetimeFigureOut">
              <a:rPr lang="en-GB" smtClean="0"/>
              <a:pPr/>
              <a:t>05/08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DE799493-6412-4470-9830-D005B358D66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28937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Futura Medium" pitchFamily="2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 userDrawn="1"/>
        </p:nvSpPr>
        <p:spPr bwMode="gray">
          <a:xfrm>
            <a:off x="0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1779490" y="951614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779490" y="3310197"/>
            <a:ext cx="9899747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779490" y="4588235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779490" y="4840064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2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Rectangle 18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5" name="TextBox 14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198" userDrawn="1">
          <p15:clr>
            <a:srgbClr val="FBAE40"/>
          </p15:clr>
        </p15:guide>
        <p15:guide id="4" pos="7357" userDrawn="1">
          <p15:clr>
            <a:srgbClr val="FBAE40"/>
          </p15:clr>
        </p15:guide>
        <p15:guide id="5" pos="1121" userDrawn="1">
          <p15:clr>
            <a:srgbClr val="FBAE40"/>
          </p15:clr>
        </p15:guide>
        <p15:guide id="6" orient="horz" pos="4074" userDrawn="1">
          <p15:clr>
            <a:srgbClr val="FBAE40"/>
          </p15:clr>
        </p15:guide>
        <p15:guide id="7" orient="horz" pos="216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/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8000" y="4199574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3864611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41" name="Straight Connector 40"/>
          <p:cNvCxnSpPr/>
          <p:nvPr userDrawn="1"/>
        </p:nvCxnSpPr>
        <p:spPr>
          <a:xfrm>
            <a:off x="508000" y="4141370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29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43" name="Straight Connector 42"/>
          <p:cNvCxnSpPr/>
          <p:nvPr userDrawn="1"/>
        </p:nvCxnSpPr>
        <p:spPr>
          <a:xfrm flipV="1">
            <a:off x="508000" y="5966640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8000" y="1863726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528763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1" name="Straight Connector 100"/>
          <p:cNvCxnSpPr/>
          <p:nvPr userDrawn="1"/>
        </p:nvCxnSpPr>
        <p:spPr>
          <a:xfrm>
            <a:off x="508000" y="1805522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03" name="Straight Connector 102"/>
          <p:cNvCxnSpPr/>
          <p:nvPr userDrawn="1"/>
        </p:nvCxnSpPr>
        <p:spPr>
          <a:xfrm flipV="1">
            <a:off x="508000" y="3732357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15063" y="4199574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3864611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6" name="Straight Connector 105"/>
          <p:cNvCxnSpPr/>
          <p:nvPr userDrawn="1"/>
        </p:nvCxnSpPr>
        <p:spPr>
          <a:xfrm>
            <a:off x="6215063" y="4141387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29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08" name="Straight Connector 107"/>
          <p:cNvCxnSpPr/>
          <p:nvPr userDrawn="1"/>
        </p:nvCxnSpPr>
        <p:spPr>
          <a:xfrm flipV="1">
            <a:off x="6215063" y="5966657"/>
            <a:ext cx="5464175" cy="1829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15063" y="1863726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528763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11" name="Straight Connector 110"/>
          <p:cNvCxnSpPr/>
          <p:nvPr userDrawn="1"/>
        </p:nvCxnSpPr>
        <p:spPr>
          <a:xfrm>
            <a:off x="6215063" y="1805539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13" name="Straight Connector 112"/>
          <p:cNvCxnSpPr/>
          <p:nvPr userDrawn="1"/>
        </p:nvCxnSpPr>
        <p:spPr>
          <a:xfrm>
            <a:off x="6089108" y="3730543"/>
            <a:ext cx="5265195" cy="2448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3" name="TextBox 2" descr="CONFIDENTIAL_TAG_0xFFEE"/>
          <p:cNvSpPr txBox="1"/>
          <p:nvPr userDrawn="1"/>
        </p:nvSpPr>
        <p:spPr bwMode="auto">
          <a:xfrm>
            <a:off x="6105231" y="4859147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7" name="Rectangle 26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6397451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9745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02833" y="1924112"/>
            <a:ext cx="4274842" cy="2930523"/>
          </a:xfrm>
          <a:prstGeom prst="rect">
            <a:avLst/>
          </a:prstGeom>
        </p:spPr>
        <p:txBody>
          <a:bodyPr lIns="0" tIns="0" rIns="0" bIns="0"/>
          <a:lstStyle>
            <a:lvl1pPr marL="0" algn="r" defTabSz="1219170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088" algn="l"/>
              </a:tabLst>
              <a:defRPr lang="en-GB" sz="20000" kern="10000" spc="-1000" baseline="0" dirty="0">
                <a:ln w="3175">
                  <a:noFill/>
                </a:ln>
                <a:solidFill>
                  <a:schemeClr val="accent1"/>
                </a:solidFill>
                <a:latin typeface="Futura Bold"/>
                <a:ea typeface="Arial" charset="0"/>
                <a:cs typeface="Futura Bold"/>
              </a:defRPr>
            </a:lvl1pPr>
          </a:lstStyle>
          <a:p>
            <a:pPr lvl="0"/>
            <a:r>
              <a:rPr lang="en-GB" dirty="0"/>
              <a:t>0.0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5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3" name="TextBox 12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61993" y="3556002"/>
            <a:ext cx="6858000" cy="2540001"/>
            <a:chOff x="761993" y="3556002"/>
            <a:chExt cx="6858000" cy="2540001"/>
          </a:xfrm>
        </p:grpSpPr>
        <p:sp>
          <p:nvSpPr>
            <p:cNvPr id="16" name="Rectangle 15"/>
            <p:cNvSpPr/>
            <p:nvPr userDrawn="1"/>
          </p:nvSpPr>
          <p:spPr bwMode="gray">
            <a:xfrm>
              <a:off x="761993" y="3556002"/>
              <a:ext cx="6858000" cy="2540001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8" name="Rectangle 27" descr="&lt;Shell Yellow Bar&gt;" title="&lt;Shell Yellow Bar&gt;"/>
            <p:cNvSpPr/>
            <p:nvPr userDrawn="1"/>
          </p:nvSpPr>
          <p:spPr bwMode="gray">
            <a:xfrm>
              <a:off x="1145875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/>
          <p:cNvSpPr/>
          <p:nvPr userDrawn="1"/>
        </p:nvSpPr>
        <p:spPr bwMode="white">
          <a:xfrm>
            <a:off x="501606" y="488935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5875" y="4028766"/>
            <a:ext cx="6177756" cy="865472"/>
          </a:xfrm>
          <a:noFill/>
        </p:spPr>
        <p:txBody>
          <a:bodyPr lIns="0" tIns="0" rIns="0"/>
          <a:lstStyle>
            <a:lvl1pPr>
              <a:defRPr sz="240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5875" y="5092242"/>
            <a:ext cx="6177756" cy="7706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</p:spTree>
    <p:extLst>
      <p:ext uri="{BB962C8B-B14F-4D97-AF65-F5344CB8AC3E}">
        <p14:creationId xmlns:p14="http://schemas.microsoft.com/office/powerpoint/2010/main" val="2291707099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13180" y="1438480"/>
            <a:ext cx="5463758" cy="2861742"/>
          </a:xfrm>
        </p:spPr>
        <p:txBody>
          <a:bodyPr/>
          <a:lstStyle>
            <a:lvl1pPr>
              <a:lnSpc>
                <a:spcPct val="110000"/>
              </a:lnSpc>
              <a:defRPr lang="en-US" sz="3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3662350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3" name="Rectangle 22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7576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27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grpSp>
        <p:nvGrpSpPr>
          <p:cNvPr id="31" name="Group 30"/>
          <p:cNvGrpSpPr/>
          <p:nvPr userDrawn="1"/>
        </p:nvGrpSpPr>
        <p:grpSpPr bwMode="gray">
          <a:xfrm>
            <a:off x="6450013" y="2557463"/>
            <a:ext cx="5197475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14" name="TextBox 13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9" name="TextBox 8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08" y="1280160"/>
            <a:ext cx="4300222" cy="4300222"/>
          </a:xfrm>
          <a:prstGeom prst="rect">
            <a:avLst/>
          </a:prstGeom>
        </p:spPr>
      </p:pic>
    </p:spTree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68400" indent="-133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05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68400" indent="-133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05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4125937355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0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50400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4831323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3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30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Rectangle 35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>
          <a:xfrm>
            <a:off x="6848418" y="2795384"/>
            <a:ext cx="4830819" cy="3049484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6" name="TextBox 15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370520605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b="1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9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b="1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564961-91B0-450C-B89A-F54E73FD2CE2}" type="datetimeFigureOut">
              <a:rPr lang="en-GB" smtClean="0"/>
              <a:t>05/08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24113-02A1-454D-B814-D6FE4A7CFAE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15613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696"/>
            <a:ext cx="5179738" cy="834301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7" name="TextBox 16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755712602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3058" userDrawn="1">
          <p15:clr>
            <a:srgbClr val="FBAE40"/>
          </p15:clr>
        </p15:guide>
        <p15:guide id="2" orient="horz" pos="2235" userDrawn="1">
          <p15:clr>
            <a:srgbClr val="FBAE40"/>
          </p15:clr>
        </p15:guide>
        <p15:guide id="3" orient="horz" pos="2562" userDrawn="1">
          <p15:clr>
            <a:srgbClr val="FBAE40"/>
          </p15:clr>
        </p15:guide>
        <p15:guide id="4" orient="horz" pos="299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1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92" b="10192"/>
          <a:stretch/>
        </p:blipFill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0"/>
            <a:ext cx="12194723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753155" y="3560901"/>
                </a:moveTo>
                <a:lnTo>
                  <a:pt x="763913" y="6359075"/>
                </a:lnTo>
                <a:lnTo>
                  <a:pt x="7622163" y="6355342"/>
                </a:lnTo>
                <a:cubicBezTo>
                  <a:pt x="7618577" y="5510947"/>
                  <a:pt x="7626189" y="4405296"/>
                  <a:pt x="7622603" y="3560901"/>
                </a:cubicBezTo>
                <a:lnTo>
                  <a:pt x="753155" y="3560901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200"/>
            <a:ext cx="5179738" cy="835200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2590869577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86400" indent="-151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orient="horz" pos="813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84691" y="508891"/>
                  <a:pt x="1769076" y="508490"/>
                </a:cubicBezTo>
                <a:cubicBezTo>
                  <a:pt x="1753461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4689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86400" indent="-151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194005781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76400" indent="-176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411163" indent="-195263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3pPr>
            <a:lvl4pPr marL="587563" indent="-176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4pPr>
            <a:lvl5pPr marL="738763" indent="-151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tabLst/>
              <a:defRPr sz="1200"/>
            </a:lvl5pPr>
            <a:lvl6pPr marL="879163" indent="-140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16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3" name="TextBox 2" descr="CONFIDENTIAL_TAG_0xFFEE"/>
          <p:cNvSpPr txBox="1"/>
          <p:nvPr userDrawn="1"/>
        </p:nvSpPr>
        <p:spPr bwMode="auto">
          <a:xfrm>
            <a:off x="6105231" y="4859147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765" userDrawn="1">
          <p15:clr>
            <a:srgbClr val="FBAE40"/>
          </p15:clr>
        </p15:guide>
        <p15:guide id="3" pos="391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3907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00"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3" y="1528764"/>
            <a:ext cx="5464175" cy="4830762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410400" indent="-194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3pPr>
            <a:lvl4pPr marL="5868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738000" indent="-1512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78400" indent="-140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tabLst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410400" indent="-1944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3pPr>
            <a:lvl4pPr marL="586800" indent="-1764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738000" indent="-1512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78400" indent="-140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7953012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80" name="think-cell Slide" r:id="rId26" imgW="396" imgH="396" progId="TCLayout.ActiveDocument.1">
                  <p:embed/>
                </p:oleObj>
              </mc:Choice>
              <mc:Fallback>
                <p:oleObj name="think-cell Slide" r:id="rId26" imgW="396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528763"/>
            <a:ext cx="11171238" cy="4830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3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8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9" name="TextBox 8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5" r:id="rId2"/>
    <p:sldLayoutId id="2147483696" r:id="rId3"/>
    <p:sldLayoutId id="2147483698" r:id="rId4"/>
    <p:sldLayoutId id="2147483693" r:id="rId5"/>
    <p:sldLayoutId id="2147483699" r:id="rId6"/>
    <p:sldLayoutId id="2147483691" r:id="rId7"/>
    <p:sldLayoutId id="2147483667" r:id="rId8"/>
    <p:sldLayoutId id="2147483692" r:id="rId9"/>
    <p:sldLayoutId id="2147483694" r:id="rId10"/>
    <p:sldLayoutId id="2147483680" r:id="rId11"/>
    <p:sldLayoutId id="2147483697" r:id="rId12"/>
    <p:sldLayoutId id="2147483678" r:id="rId13"/>
    <p:sldLayoutId id="2147483700" r:id="rId14"/>
    <p:sldLayoutId id="2147483681" r:id="rId15"/>
    <p:sldLayoutId id="2147483682" r:id="rId16"/>
    <p:sldLayoutId id="2147483683" r:id="rId17"/>
    <p:sldLayoutId id="2147483689" r:id="rId18"/>
    <p:sldLayoutId id="2147483701" r:id="rId19"/>
    <p:sldLayoutId id="2147483690" r:id="rId20"/>
    <p:sldLayoutId id="2147483679" r:id="rId21"/>
    <p:sldLayoutId id="2147483703" r:id="rId22"/>
  </p:sldLayoutIdLst>
  <p:transition>
    <p:fade/>
  </p:transition>
  <p:hf hd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03200" indent="-201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336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35200" indent="-201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986400" indent="-1512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320" userDrawn="1">
          <p15:clr>
            <a:srgbClr val="F26B43"/>
          </p15:clr>
        </p15:guide>
        <p15:guide id="3" pos="7357" userDrawn="1">
          <p15:clr>
            <a:srgbClr val="F26B43"/>
          </p15:clr>
        </p15:guide>
        <p15:guide id="4" orient="horz" pos="444" userDrawn="1">
          <p15:clr>
            <a:srgbClr val="F26B43"/>
          </p15:clr>
        </p15:guide>
        <p15:guide id="5" orient="horz" pos="963" userDrawn="1">
          <p15:clr>
            <a:srgbClr val="F26B43"/>
          </p15:clr>
        </p15:guide>
        <p15:guide id="6" orient="horz" pos="928" userDrawn="1">
          <p15:clr>
            <a:srgbClr val="F26B43"/>
          </p15:clr>
        </p15:guide>
        <p15:guide id="7" orient="horz" pos="4071" userDrawn="1">
          <p15:clr>
            <a:srgbClr val="F26B43"/>
          </p15:clr>
        </p15:guide>
        <p15:guide id="8" orient="horz" pos="4006" userDrawn="1">
          <p15:clr>
            <a:srgbClr val="F26B43"/>
          </p15:clr>
        </p15:guide>
        <p15:guide id="9" pos="3765" userDrawn="1">
          <p15:clr>
            <a:srgbClr val="F26B43"/>
          </p15:clr>
        </p15:guide>
        <p15:guide id="10" pos="3915" userDrawn="1">
          <p15:clr>
            <a:srgbClr val="F26B43"/>
          </p15:clr>
        </p15:guide>
        <p15:guide id="11" orient="horz" pos="320" userDrawn="1">
          <p15:clr>
            <a:srgbClr val="F26B43"/>
          </p15:clr>
        </p15:guide>
        <p15:guide id="12" orient="horz" pos="368" userDrawn="1">
          <p15:clr>
            <a:srgbClr val="F26B43"/>
          </p15:clr>
        </p15:guide>
        <p15:guide id="13" pos="1121" userDrawn="1">
          <p15:clr>
            <a:srgbClr val="F26B43"/>
          </p15:clr>
        </p15:guide>
        <p15:guide id="14" orient="horz" pos="42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454" y="893219"/>
            <a:ext cx="9882553" cy="305386"/>
          </a:xfrm>
          <a:solidFill>
            <a:srgbClr val="FFFF00"/>
          </a:solidFill>
          <a:ln>
            <a:solidFill>
              <a:schemeClr val="tx1"/>
            </a:solidFill>
          </a:ln>
        </p:spPr>
        <p:txBody>
          <a:bodyPr>
            <a:normAutofit/>
          </a:bodyPr>
          <a:lstStyle/>
          <a:p>
            <a:r>
              <a:rPr lang="en-GB" sz="1600" b="1" dirty="0">
                <a:solidFill>
                  <a:srgbClr val="FF0000"/>
                </a:solidFill>
                <a:latin typeface="Futura Medium" panose="00000400000000000000" pitchFamily="2" charset="0"/>
              </a:rPr>
              <a:t>Title: ISIM002L Bean OPTIMIZATION – Gain of 174 bopd by End  August  2019</a:t>
            </a:r>
          </a:p>
        </p:txBody>
      </p:sp>
      <p:sp>
        <p:nvSpPr>
          <p:cNvPr id="4" name="Rectangle 3"/>
          <p:cNvSpPr/>
          <p:nvPr/>
        </p:nvSpPr>
        <p:spPr>
          <a:xfrm>
            <a:off x="1081453" y="1226704"/>
            <a:ext cx="9882553" cy="984885"/>
          </a:xfrm>
          <a:prstGeom prst="rect">
            <a:avLst/>
          </a:prstGeom>
          <a:ln w="952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GB" sz="1400" b="1" u="sng" dirty="0"/>
              <a:t>Business Case/Objectives</a:t>
            </a:r>
            <a:r>
              <a:rPr lang="en-GB" sz="1400" b="1" dirty="0"/>
              <a:t>:</a:t>
            </a:r>
            <a:endParaRPr lang="en-US" sz="1400" dirty="0"/>
          </a:p>
          <a:p>
            <a:pPr>
              <a:spcBef>
                <a:spcPts val="600"/>
              </a:spcBef>
            </a:pPr>
            <a:r>
              <a:rPr lang="en-US" sz="1300" dirty="0"/>
              <a:t>Increase production </a:t>
            </a:r>
            <a:r>
              <a:rPr lang="en-US" sz="1300"/>
              <a:t>from Imo River </a:t>
            </a:r>
            <a:r>
              <a:rPr lang="en-US" sz="1300" dirty="0"/>
              <a:t>Node by carrying out bean optimization for ISIM002L with an expected gain of 174 bopd. This is in line with active WRFM / surveillance practice carried out by the Imo River Field Management Team (FMT) in collaboration with Production operations. </a:t>
            </a:r>
          </a:p>
        </p:txBody>
      </p:sp>
      <p:sp>
        <p:nvSpPr>
          <p:cNvPr id="6" name="Rectangle 5"/>
          <p:cNvSpPr/>
          <p:nvPr/>
        </p:nvSpPr>
        <p:spPr>
          <a:xfrm>
            <a:off x="1081454" y="2587811"/>
            <a:ext cx="2949163" cy="846386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300" b="1" u="sng" dirty="0"/>
              <a:t>Potential Benefits &amp; Measurement:</a:t>
            </a:r>
            <a:endParaRPr lang="en-US" sz="13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174 bop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</p:txBody>
      </p:sp>
      <p:sp>
        <p:nvSpPr>
          <p:cNvPr id="8" name="Rectangle 7"/>
          <p:cNvSpPr/>
          <p:nvPr/>
        </p:nvSpPr>
        <p:spPr>
          <a:xfrm>
            <a:off x="4220308" y="2587811"/>
            <a:ext cx="3128596" cy="2092881"/>
          </a:xfrm>
          <a:prstGeom prst="rect">
            <a:avLst/>
          </a:prstGeom>
          <a:ln w="9525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300" b="1" u="sng" dirty="0"/>
              <a:t>Project Scope/Actions 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/>
              <a:t>Identify opportunities for optimiza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/>
              <a:t>Calibrate well performance mode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/>
              <a:t>Validate bean up opportunit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/>
              <a:t>Share execution sequence with operation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/>
              <a:t>Execute programme, test well &amp; take wellhead samp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/>
              <a:t>Report gai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3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05E7175-DBF9-4B30-8A0B-0E60B8D397FD}"/>
              </a:ext>
            </a:extLst>
          </p:cNvPr>
          <p:cNvSpPr/>
          <p:nvPr/>
        </p:nvSpPr>
        <p:spPr>
          <a:xfrm>
            <a:off x="7538595" y="2587811"/>
            <a:ext cx="3434206" cy="116955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400" b="1" u="sng" dirty="0"/>
              <a:t>Critical Success Factors: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Bean availabilit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imely delivery of proposed bean-up sequen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Validated test result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5C65F9E-8269-4C73-8C17-2DB065639E5F}"/>
              </a:ext>
            </a:extLst>
          </p:cNvPr>
          <p:cNvSpPr/>
          <p:nvPr/>
        </p:nvSpPr>
        <p:spPr>
          <a:xfrm>
            <a:off x="7538596" y="3859553"/>
            <a:ext cx="3434206" cy="64633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dk1"/>
                </a:solidFill>
              </a:rPr>
              <a:t>Project Sponsor: </a:t>
            </a:r>
            <a:r>
              <a:rPr lang="en-US" sz="1200" dirty="0">
                <a:solidFill>
                  <a:schemeClr val="dk1"/>
                </a:solidFill>
              </a:rPr>
              <a:t>Eneyok, Gogo</a:t>
            </a:r>
          </a:p>
          <a:p>
            <a:r>
              <a:rPr lang="en-US" sz="1200" dirty="0">
                <a:solidFill>
                  <a:schemeClr val="dk1"/>
                </a:solidFill>
              </a:rPr>
              <a:t>Project</a:t>
            </a:r>
            <a:r>
              <a:rPr lang="en-US" sz="1200" b="1" dirty="0">
                <a:solidFill>
                  <a:schemeClr val="dk1"/>
                </a:solidFill>
              </a:rPr>
              <a:t> members: Ufuoma Oghene</a:t>
            </a:r>
            <a:r>
              <a:rPr lang="en-US" sz="1200" dirty="0">
                <a:solidFill>
                  <a:schemeClr val="dk1"/>
                </a:solidFill>
              </a:rPr>
              <a:t>; Gloria Erivona; Onyinyechi Ekerenduh .</a:t>
            </a:r>
            <a:endParaRPr lang="en-GB" sz="1200" dirty="0">
              <a:solidFill>
                <a:schemeClr val="dk1"/>
              </a:solidFill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A62D2491-EB46-4EFF-A97D-79454FC5E5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3178021"/>
              </p:ext>
            </p:extLst>
          </p:nvPr>
        </p:nvGraphicFramePr>
        <p:xfrm>
          <a:off x="4220309" y="5274104"/>
          <a:ext cx="3128595" cy="990600"/>
        </p:xfrm>
        <a:graphic>
          <a:graphicData uri="http://schemas.openxmlformats.org/drawingml/2006/table">
            <a:tbl>
              <a:tblPr firstRow="1" firstCol="1" bandRow="1"/>
              <a:tblGrid>
                <a:gridCol w="1042865">
                  <a:extLst>
                    <a:ext uri="{9D8B030D-6E8A-4147-A177-3AD203B41FA5}">
                      <a16:colId xmlns:a16="http://schemas.microsoft.com/office/drawing/2014/main" val="4106316771"/>
                    </a:ext>
                  </a:extLst>
                </a:gridCol>
                <a:gridCol w="1042865">
                  <a:extLst>
                    <a:ext uri="{9D8B030D-6E8A-4147-A177-3AD203B41FA5}">
                      <a16:colId xmlns:a16="http://schemas.microsoft.com/office/drawing/2014/main" val="3735692582"/>
                    </a:ext>
                  </a:extLst>
                </a:gridCol>
                <a:gridCol w="1042865">
                  <a:extLst>
                    <a:ext uri="{9D8B030D-6E8A-4147-A177-3AD203B41FA5}">
                      <a16:colId xmlns:a16="http://schemas.microsoft.com/office/drawing/2014/main" val="3949763007"/>
                    </a:ext>
                  </a:extLst>
                </a:gridCol>
              </a:tblGrid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Oil</a:t>
                      </a:r>
                      <a:endParaRPr lang="en-US" sz="130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Gas</a:t>
                      </a:r>
                      <a:endParaRPr lang="en-US" sz="130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2555276"/>
                  </a:ext>
                </a:extLst>
              </a:tr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$'</a:t>
                      </a:r>
                      <a:r>
                        <a:rPr lang="en-US" sz="1300" b="1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mln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$'mln</a:t>
                      </a:r>
                      <a:endParaRPr lang="en-US" sz="130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5352893"/>
                  </a:ext>
                </a:extLst>
              </a:tr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  Opex</a:t>
                      </a:r>
                      <a:endParaRPr lang="en-US" sz="130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0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4202967"/>
                  </a:ext>
                </a:extLst>
              </a:tr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  Capex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0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4838123"/>
                  </a:ext>
                </a:extLst>
              </a:tr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otal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0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03924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41646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hell layouts with footer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defTabSz="357708">
          <a:lnSpc>
            <a:spcPct val="140000"/>
          </a:lnSpc>
          <a:buClr>
            <a:schemeClr val="accent2"/>
          </a:buClr>
          <a:buSzPct val="85000"/>
          <a:buFont typeface="Wingdings" panose="05000000000000000000" pitchFamily="2" charset="2"/>
          <a:buChar char=""/>
          <a:defRPr sz="1600" dirty="0" err="1" smtClean="0">
            <a:solidFill>
              <a:srgbClr val="595959"/>
            </a:solidFill>
          </a:defRPr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Shell Template - Widescreen - V33.potx" id="{DCB8EBDD-AD61-4D12-B9D8-0A71DB1F1C72}" vid="{6D69188D-DD7E-4D0E-8AB8-46CCC4C7C1FE}"/>
    </a:ext>
  </a:extLst>
</a:theme>
</file>

<file path=ppt/theme/theme2.xml><?xml version="1.0" encoding="utf-8"?>
<a:theme xmlns:a="http://schemas.openxmlformats.org/drawingml/2006/main" name="Office Theme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hell WizKit V3_Template_Widescreen_06July2016</Template>
  <TotalTime>32511</TotalTime>
  <Words>160</Words>
  <Application>Microsoft Office PowerPoint</Application>
  <PresentationFormat>Widescreen</PresentationFormat>
  <Paragraphs>3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Futura Medium</vt:lpstr>
      <vt:lpstr>Futura Bold</vt:lpstr>
      <vt:lpstr>Wingdings</vt:lpstr>
      <vt:lpstr>Calibri</vt:lpstr>
      <vt:lpstr>Shell layouts with footer</vt:lpstr>
      <vt:lpstr>think-cell Slide</vt:lpstr>
      <vt:lpstr>Title: ISIM002L Bean OPTIMIZATION – Gain of 174 bopd by End  August  2019</vt:lpstr>
    </vt:vector>
  </TitlesOfParts>
  <Company>She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in presentation title  Second title line if required</dc:title>
  <dc:creator>Onaolapo Bolarinwa</dc:creator>
  <cp:lastModifiedBy>Ekerenduh, Onyinyechi C SPDC-UPO/G/UVL</cp:lastModifiedBy>
  <cp:revision>730</cp:revision>
  <cp:lastPrinted>2018-07-13T16:09:42Z</cp:lastPrinted>
  <dcterms:created xsi:type="dcterms:W3CDTF">2016-07-14T14:43:13Z</dcterms:created>
  <dcterms:modified xsi:type="dcterms:W3CDTF">2019-08-05T13:29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Widescreen</vt:lpwstr>
  </property>
  <property fmtid="{D5CDD505-2E9C-101B-9397-08002B2CF9AE}" pid="3" name="WizKit Template Version">
    <vt:i4>4</vt:i4>
  </property>
</Properties>
</file>